
<file path=[Content_Types].xml><?xml version="1.0" encoding="utf-8"?>
<Types xmlns="http://schemas.openxmlformats.org/package/2006/content-types"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2"/>
  </p:notesMasterIdLst>
  <p:sldIdLst>
    <p:sldId id="257" r:id="rId3"/>
    <p:sldId id="258" r:id="rId4"/>
    <p:sldId id="259" r:id="rId5"/>
    <p:sldId id="260" r:id="rId6"/>
    <p:sldId id="527" r:id="rId7"/>
    <p:sldId id="261" r:id="rId8"/>
    <p:sldId id="2563" r:id="rId9"/>
    <p:sldId id="262" r:id="rId10"/>
    <p:sldId id="263" r:id="rId11"/>
  </p:sldIdLst>
  <p:sldSz cx="12192000" cy="6858000"/>
  <p:notesSz cx="6858000" cy="9144000"/>
  <p:embeddedFontLst>
    <p:embeddedFont>
      <p:font typeface="汉仪正圆-55W" panose="00020600040101010101" pitchFamily="18" charset="-122"/>
      <p:regular r:id="rId16"/>
    </p:embeddedFont>
    <p:embeddedFont>
      <p:font typeface="Open Sans" pitchFamily="34" charset="0"/>
      <p:regular r:id="rId17"/>
      <p:bold r:id="rId18"/>
      <p:italic r:id="rId19"/>
      <p:boldItalic r:id="rId20"/>
    </p:embeddedFont>
    <p:embeddedFont>
      <p:font typeface="Open Sans Light" pitchFamily="34" charset="0"/>
      <p:regular r:id="rId21"/>
      <p:italic r:id="rId22"/>
    </p:embeddedFont>
    <p:embeddedFont>
      <p:font typeface="等线 Light" panose="02010600030101010101" charset="-122"/>
      <p:regular r:id="rId23"/>
    </p:embeddedFont>
    <p:embeddedFont>
      <p:font typeface="等线" panose="02010600030101010101" charset="-122"/>
      <p:regular r:id="rId24"/>
    </p:embeddedFont>
  </p:embeddedFontLst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85" autoAdjust="0"/>
    <p:restoredTop sz="94694"/>
  </p:normalViewPr>
  <p:slideViewPr>
    <p:cSldViewPr snapToGrid="0" snapToObjects="1">
      <p:cViewPr varScale="1">
        <p:scale>
          <a:sx n="107" d="100"/>
          <a:sy n="107" d="100"/>
        </p:scale>
        <p:origin x="55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5" Type="http://schemas.openxmlformats.org/officeDocument/2006/relationships/tags" Target="tags/tag5.xml"/><Relationship Id="rId24" Type="http://schemas.openxmlformats.org/officeDocument/2006/relationships/font" Target="fonts/font9.fntdata"/><Relationship Id="rId23" Type="http://schemas.openxmlformats.org/officeDocument/2006/relationships/font" Target="fonts/font8.fntdata"/><Relationship Id="rId22" Type="http://schemas.openxmlformats.org/officeDocument/2006/relationships/font" Target="fonts/font7.fntdata"/><Relationship Id="rId21" Type="http://schemas.openxmlformats.org/officeDocument/2006/relationships/font" Target="fonts/font6.fntdata"/><Relationship Id="rId20" Type="http://schemas.openxmlformats.org/officeDocument/2006/relationships/font" Target="fonts/font5.fntdata"/><Relationship Id="rId2" Type="http://schemas.openxmlformats.org/officeDocument/2006/relationships/theme" Target="theme/theme1.xml"/><Relationship Id="rId19" Type="http://schemas.openxmlformats.org/officeDocument/2006/relationships/font" Target="fonts/font4.fntdata"/><Relationship Id="rId18" Type="http://schemas.openxmlformats.org/officeDocument/2006/relationships/font" Target="fonts/font3.fntdata"/><Relationship Id="rId17" Type="http://schemas.openxmlformats.org/officeDocument/2006/relationships/font" Target="fonts/font2.fntdata"/><Relationship Id="rId16" Type="http://schemas.openxmlformats.org/officeDocument/2006/relationships/font" Target="fonts/font1.fntdata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73684-DEA6-4057-B32F-17807593048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3DA20-3340-47F2-8F69-CF0BF619219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6.jpeg"/><Relationship Id="rId6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tags" Target="../tags/tag3.xml"/><Relationship Id="rId3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五子棋</a:t>
            </a:r>
            <a:r>
              <a:rPr lang="zh-CN" altLang="en-US" sz="7200" b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小游戏</a:t>
            </a:r>
            <a:endParaRPr lang="zh-CN" altLang="en-US" sz="7200" b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小组：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ACode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成员：彭勃，黄智强、宋玮良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418" y="3580208"/>
            <a:ext cx="4669164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采用豆包</a:t>
            </a:r>
            <a:r>
              <a:rPr lang="en-US" altLang="zh-CN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完成小游戏开发的</a:t>
            </a:r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分享</a:t>
            </a:r>
            <a:endParaRPr lang="zh-CN" altLang="en-US" sz="160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4321628" y="5188857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1001486" y="798285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>
          <a:xfrm>
            <a:off x="1364342" y="1233714"/>
            <a:ext cx="3497944" cy="4390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1524001" y="3588821"/>
            <a:ext cx="3178628" cy="461664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 txBox="1"/>
          <p:nvPr/>
        </p:nvSpPr>
        <p:spPr>
          <a:xfrm>
            <a:off x="1857829" y="2104572"/>
            <a:ext cx="2525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目录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857829" y="3588820"/>
            <a:ext cx="252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CONTENT</a:t>
            </a:r>
            <a:endParaRPr lang="zh-CN" alt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>
          <a:xfrm>
            <a:off x="6313715" y="1366113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1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7228115" y="1367999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项目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 flipH="1">
            <a:off x="7255192" y="1837349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Project introduc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6313715" y="2521144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2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 txBox="1"/>
          <p:nvPr/>
        </p:nvSpPr>
        <p:spPr>
          <a:xfrm>
            <a:off x="7228115" y="2523030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开发过程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 txBox="1"/>
          <p:nvPr/>
        </p:nvSpPr>
        <p:spPr>
          <a:xfrm flipH="1">
            <a:off x="7255192" y="2992380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Development process introduc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6313715" y="3676175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3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 txBox="1"/>
          <p:nvPr/>
        </p:nvSpPr>
        <p:spPr>
          <a:xfrm>
            <a:off x="7228115" y="3678061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运用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6" name="深度视觉·原创设计 https://www.docer.com/works?userid=22383862"/>
          <p:cNvSpPr txBox="1"/>
          <p:nvPr/>
        </p:nvSpPr>
        <p:spPr>
          <a:xfrm flipH="1">
            <a:off x="7255192" y="4147411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Bean bag MarsCode applica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6313715" y="4831206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4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 txBox="1"/>
          <p:nvPr/>
        </p:nvSpPr>
        <p:spPr>
          <a:xfrm>
            <a:off x="7228115" y="4833092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项目成果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 txBox="1"/>
          <p:nvPr/>
        </p:nvSpPr>
        <p:spPr>
          <a:xfrm flipH="1">
            <a:off x="7255192" y="5302442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Project results display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项目</a:t>
            </a: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介绍</a:t>
            </a:r>
            <a:endParaRPr kumimoji="0" lang="zh-CN" altLang="en-US" sz="4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1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6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五子棋是一个经典的双人游戏，由两人轮流在棋盘上落子，每次落子后，需要在水平、竖直、斜对角三个方向上连成五子，即可获胜。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项目截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68670" y="1512570"/>
            <a:ext cx="5824220" cy="383286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开发过程介绍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2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开发过程主要由棋盘、下棋、检测获胜、智能下棋四个部分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组成。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开发过程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34455" y="2080260"/>
            <a:ext cx="4665980" cy="247904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5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6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7" name="深度视觉·原创设计 https://www.docer.com/works?userid=22383862"/>
          <p:cNvSpPr txBox="1"/>
          <p:nvPr/>
        </p:nvSpPr>
        <p:spPr>
          <a:xfrm>
            <a:off x="4966459" y="455895"/>
            <a:ext cx="2259081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开发过程</a:t>
            </a: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000" spc="3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2" name="深度视觉·原创设计 https://www.docer.com/works?userid=22383862"/>
          <p:cNvGrpSpPr/>
          <p:nvPr/>
        </p:nvGrpSpPr>
        <p:grpSpPr>
          <a:xfrm>
            <a:off x="1942346" y="1808815"/>
            <a:ext cx="1302443" cy="1913081"/>
            <a:chOff x="1578112" y="2345101"/>
            <a:chExt cx="1655762" cy="2432050"/>
          </a:xfrm>
        </p:grpSpPr>
        <p:sp>
          <p:nvSpPr>
            <p:cNvPr id="3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6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1" name="深度视觉·原创设计 https://www.docer.com/works?userid=22383862"/>
          <p:cNvGrpSpPr/>
          <p:nvPr/>
        </p:nvGrpSpPr>
        <p:grpSpPr>
          <a:xfrm>
            <a:off x="4025343" y="1372462"/>
            <a:ext cx="1615944" cy="2373564"/>
            <a:chOff x="1578112" y="2345101"/>
            <a:chExt cx="1655762" cy="2432050"/>
          </a:xfrm>
        </p:grpSpPr>
        <p:sp>
          <p:nvSpPr>
            <p:cNvPr id="12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3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4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0" name="深度视觉·原创设计 https://www.docer.com/works?userid=22383862"/>
          <p:cNvGrpSpPr/>
          <p:nvPr/>
        </p:nvGrpSpPr>
        <p:grpSpPr>
          <a:xfrm>
            <a:off x="6109773" y="1136485"/>
            <a:ext cx="1777032" cy="2610176"/>
            <a:chOff x="1578112" y="2345101"/>
            <a:chExt cx="1655762" cy="2432050"/>
          </a:xfrm>
        </p:grpSpPr>
        <p:sp>
          <p:nvSpPr>
            <p:cNvPr id="21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2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3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4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5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6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7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8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9" name="深度视觉·原创设计 https://www.docer.com/works?userid=22383862"/>
          <p:cNvGrpSpPr/>
          <p:nvPr/>
        </p:nvGrpSpPr>
        <p:grpSpPr>
          <a:xfrm>
            <a:off x="7937994" y="607946"/>
            <a:ext cx="2155990" cy="3166806"/>
            <a:chOff x="1578112" y="2345101"/>
            <a:chExt cx="1655762" cy="2432050"/>
          </a:xfrm>
        </p:grpSpPr>
        <p:sp>
          <p:nvSpPr>
            <p:cNvPr id="3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1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2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6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7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8" name="深度视觉·原创设计 https://www.docer.com/works?userid=22383862"/>
          <p:cNvSpPr/>
          <p:nvPr/>
        </p:nvSpPr>
        <p:spPr>
          <a:xfrm>
            <a:off x="2026290" y="2852130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9" name="深度视觉·原创设计 https://www.docer.com/works?userid=22383862"/>
          <p:cNvSpPr/>
          <p:nvPr/>
        </p:nvSpPr>
        <p:spPr>
          <a:xfrm>
            <a:off x="4348706" y="2765307"/>
            <a:ext cx="617583" cy="61758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0" name="深度视觉·原创设计 https://www.docer.com/works?userid=22383862"/>
          <p:cNvSpPr/>
          <p:nvPr/>
        </p:nvSpPr>
        <p:spPr>
          <a:xfrm>
            <a:off x="6480490" y="2616832"/>
            <a:ext cx="617583" cy="6175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1" name="深度视觉·原创设计 https://www.docer.com/works?userid=22383862"/>
          <p:cNvSpPr/>
          <p:nvPr/>
        </p:nvSpPr>
        <p:spPr>
          <a:xfrm>
            <a:off x="8520104" y="2588486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2" name="深度视觉·原创设计 https://www.docer.com/works?userid=22383862"/>
          <p:cNvSpPr txBox="1"/>
          <p:nvPr/>
        </p:nvSpPr>
        <p:spPr>
          <a:xfrm>
            <a:off x="1999513" y="2917473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3" name="深度视觉·原创设计 https://www.docer.com/works?userid=22383862"/>
          <p:cNvSpPr txBox="1"/>
          <p:nvPr/>
        </p:nvSpPr>
        <p:spPr>
          <a:xfrm>
            <a:off x="4343832" y="282919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4" name="深度视觉·原创设计 https://www.docer.com/works?userid=22383862"/>
          <p:cNvSpPr txBox="1"/>
          <p:nvPr/>
        </p:nvSpPr>
        <p:spPr>
          <a:xfrm>
            <a:off x="6431289" y="2694187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 txBox="1"/>
          <p:nvPr/>
        </p:nvSpPr>
        <p:spPr>
          <a:xfrm>
            <a:off x="8473686" y="266824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>
          <a:xfrm>
            <a:off x="1700724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棋盘开发主要是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15*15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225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个格子的展示以及黑棋白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/>
          <p:nvPr/>
        </p:nvSpPr>
        <p:spPr>
          <a:xfrm>
            <a:off x="2082994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棋盘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8" name="深度视觉·原创设计 https://www.docer.com/works?userid=22383862"/>
          <p:cNvSpPr/>
          <p:nvPr/>
        </p:nvSpPr>
        <p:spPr>
          <a:xfrm>
            <a:off x="3872320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下棋开发主要是用户点击相应格子完成黑棋白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9" name="深度视觉·原创设计 https://www.docer.com/works?userid=22383862"/>
          <p:cNvSpPr/>
          <p:nvPr/>
        </p:nvSpPr>
        <p:spPr>
          <a:xfrm>
            <a:off x="4422230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下棋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0" name="深度视觉·原创设计 https://www.docer.com/works?userid=22383862"/>
          <p:cNvSpPr/>
          <p:nvPr/>
        </p:nvSpPr>
        <p:spPr>
          <a:xfrm>
            <a:off x="6145988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检测获胜是在每一步下棋之后判断有没有达成胜利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一方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1" name="深度视觉·原创设计 https://www.docer.com/works?userid=22383862"/>
          <p:cNvSpPr/>
          <p:nvPr/>
        </p:nvSpPr>
        <p:spPr>
          <a:xfrm>
            <a:off x="6563818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检测</a:t>
            </a: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获胜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2" name="深度视觉·原创设计 https://www.docer.com/works?userid=22383862"/>
          <p:cNvSpPr/>
          <p:nvPr/>
        </p:nvSpPr>
        <p:spPr>
          <a:xfrm>
            <a:off x="8260048" y="4690384"/>
            <a:ext cx="2009488" cy="603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智能下棋主要是在人机对决中机器人下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位置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3" name="深度视觉·原创设计 https://www.docer.com/works?userid=22383862"/>
          <p:cNvSpPr/>
          <p:nvPr/>
        </p:nvSpPr>
        <p:spPr>
          <a:xfrm>
            <a:off x="8718518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智能</a:t>
            </a: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下棋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000"/>
                            </p:stCondLst>
                            <p:childTnLst>
                              <p:par>
                                <p:cTn id="8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4000"/>
                            </p:stCondLst>
                            <p:childTnLst>
                              <p:par>
                                <p:cTn id="10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ldLvl="0" animBg="1"/>
      <p:bldP spid="39" grpId="0" bldLvl="0" animBg="1"/>
      <p:bldP spid="40" grpId="0" bldLvl="0" animBg="1"/>
      <p:bldP spid="41" grpId="0" bldLvl="0" animBg="1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198032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运用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122676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3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豆包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32940" y="2923540"/>
            <a:ext cx="8326755" cy="28282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6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7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8" name="深度视觉·原创设计 https://www.docer.com/works?userid=22383862"/>
          <p:cNvSpPr txBox="1"/>
          <p:nvPr/>
        </p:nvSpPr>
        <p:spPr>
          <a:xfrm>
            <a:off x="4823460" y="455930"/>
            <a:ext cx="2514600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运用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43" name="深度视觉·原创设计 https://www.docer.com/works?userid=22383862"/>
          <p:cNvGrpSpPr/>
          <p:nvPr/>
        </p:nvGrpSpPr>
        <p:grpSpPr>
          <a:xfrm>
            <a:off x="4004218" y="1655734"/>
            <a:ext cx="4117446" cy="4117446"/>
            <a:chOff x="2241297" y="1866749"/>
            <a:chExt cx="4117446" cy="4117446"/>
          </a:xfrm>
        </p:grpSpPr>
        <p:sp>
          <p:nvSpPr>
            <p:cNvPr id="44" name="深度视觉·原创设计 https://www.docer.com/works?userid=22383862"/>
            <p:cNvSpPr/>
            <p:nvPr>
              <p:custDataLst>
                <p:tags r:id="rId1"/>
              </p:custDataLst>
            </p:nvPr>
          </p:nvSpPr>
          <p:spPr>
            <a:xfrm>
              <a:off x="2241297" y="1866749"/>
              <a:ext cx="4117446" cy="41174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5" name="深度视觉·原创设计 https://www.docer.com/works?userid=22383862"/>
            <p:cNvSpPr/>
            <p:nvPr>
              <p:custDataLst>
                <p:tags r:id="rId2"/>
              </p:custDataLst>
            </p:nvPr>
          </p:nvSpPr>
          <p:spPr>
            <a:xfrm>
              <a:off x="2385639" y="2006592"/>
              <a:ext cx="3828761" cy="3828761"/>
            </a:xfrm>
            <a:prstGeom prst="ellipse">
              <a:avLst/>
            </a:prstGeom>
            <a:solidFill>
              <a:schemeClr val="accent1"/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46" name="深度视觉·原创设计 https://www.docer.com/works?userid=22383862"/>
          <p:cNvGrpSpPr/>
          <p:nvPr/>
        </p:nvGrpSpPr>
        <p:grpSpPr>
          <a:xfrm>
            <a:off x="4767685" y="2652827"/>
            <a:ext cx="2720283" cy="2192194"/>
            <a:chOff x="3004764" y="2863842"/>
            <a:chExt cx="2720283" cy="2192194"/>
          </a:xfrm>
        </p:grpSpPr>
        <p:grpSp>
          <p:nvGrpSpPr>
            <p:cNvPr id="47" name="Group 8"/>
            <p:cNvGrpSpPr/>
            <p:nvPr/>
          </p:nvGrpSpPr>
          <p:grpSpPr>
            <a:xfrm>
              <a:off x="3056718" y="2915796"/>
              <a:ext cx="2661818" cy="2082512"/>
              <a:chOff x="2915359" y="2814052"/>
              <a:chExt cx="2928001" cy="2290764"/>
            </a:xfrm>
          </p:grpSpPr>
          <p:cxnSp>
            <p:nvCxnSpPr>
              <p:cNvPr id="51" name="深度视觉·原创设计 https://www.docer.com/works?userid=22383862"/>
              <p:cNvCxnSpPr/>
              <p:nvPr/>
            </p:nvCxnSpPr>
            <p:spPr>
              <a:xfrm>
                <a:off x="2915359" y="2814052"/>
                <a:ext cx="1470025" cy="1069975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深度视觉·原创设计 https://www.docer.com/works?userid=22383862"/>
              <p:cNvCxnSpPr>
                <a:stCxn id="50" idx="6"/>
              </p:cNvCxnSpPr>
              <p:nvPr/>
            </p:nvCxnSpPr>
            <p:spPr>
              <a:xfrm flipH="1">
                <a:off x="4198064" y="3372395"/>
                <a:ext cx="1645296" cy="489408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深度视觉·原创设计 https://www.docer.com/works?userid=22383862"/>
              <p:cNvCxnSpPr/>
              <p:nvPr/>
            </p:nvCxnSpPr>
            <p:spPr>
              <a:xfrm flipV="1">
                <a:off x="3451934" y="4535905"/>
                <a:ext cx="371670" cy="568911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深度视觉·原创设计 https://www.docer.com/works?userid=22383862"/>
            <p:cNvSpPr/>
            <p:nvPr/>
          </p:nvSpPr>
          <p:spPr bwMode="auto">
            <a:xfrm>
              <a:off x="3004764" y="2863842"/>
              <a:ext cx="103909" cy="10390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9" name="深度视觉·原创设计 https://www.docer.com/works?userid=22383862"/>
            <p:cNvSpPr/>
            <p:nvPr/>
          </p:nvSpPr>
          <p:spPr>
            <a:xfrm rot="6907592">
              <a:off x="3489673" y="4940581"/>
              <a:ext cx="115455" cy="1154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0" name="深度视觉·原创设计 https://www.docer.com/works?userid=22383862"/>
            <p:cNvSpPr/>
            <p:nvPr/>
          </p:nvSpPr>
          <p:spPr>
            <a:xfrm rot="20038587">
              <a:off x="5596603" y="3387335"/>
              <a:ext cx="128444" cy="1284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54" name="深度视觉·原创设计 https://www.docer.com/works?userid=22383862"/>
          <p:cNvGrpSpPr/>
          <p:nvPr/>
        </p:nvGrpSpPr>
        <p:grpSpPr>
          <a:xfrm>
            <a:off x="5210514" y="2858973"/>
            <a:ext cx="1659659" cy="1659659"/>
            <a:chOff x="3447593" y="3069988"/>
            <a:chExt cx="1659659" cy="1659659"/>
          </a:xfrm>
        </p:grpSpPr>
        <p:sp>
          <p:nvSpPr>
            <p:cNvPr id="55" name="深度视觉·原创设计 https://www.docer.com/works?userid=22383862"/>
            <p:cNvSpPr/>
            <p:nvPr/>
          </p:nvSpPr>
          <p:spPr bwMode="auto">
            <a:xfrm>
              <a:off x="3447593" y="3069988"/>
              <a:ext cx="1659659" cy="165965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6" name="深度视觉·原创设计 https://www.docer.com/works?userid=22383862"/>
            <p:cNvSpPr/>
            <p:nvPr/>
          </p:nvSpPr>
          <p:spPr bwMode="auto">
            <a:xfrm>
              <a:off x="3528057" y="3147995"/>
              <a:ext cx="1507091" cy="1507091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solidFill>
                  <a:prstClr val="white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grpSp>
          <p:nvGrpSpPr>
            <p:cNvPr id="57" name="Group 103"/>
            <p:cNvGrpSpPr/>
            <p:nvPr/>
          </p:nvGrpSpPr>
          <p:grpSpPr>
            <a:xfrm>
              <a:off x="3882396" y="3374775"/>
              <a:ext cx="800211" cy="771046"/>
              <a:chOff x="5513430" y="3164683"/>
              <a:chExt cx="1171589" cy="1128889"/>
            </a:xfrm>
            <a:solidFill>
              <a:schemeClr val="bg1"/>
            </a:solidFill>
          </p:grpSpPr>
          <p:sp>
            <p:nvSpPr>
              <p:cNvPr id="59" name="深度视觉·原创设计 https://www.docer.com/works?userid=22383862"/>
              <p:cNvSpPr/>
              <p:nvPr/>
            </p:nvSpPr>
            <p:spPr bwMode="auto">
              <a:xfrm>
                <a:off x="5513430" y="3781929"/>
                <a:ext cx="1171589" cy="511643"/>
              </a:xfrm>
              <a:custGeom>
                <a:avLst/>
                <a:gdLst>
                  <a:gd name="connsiteX0" fmla="*/ 406429 w 1171589"/>
                  <a:gd name="connsiteY0" fmla="*/ 0 h 511643"/>
                  <a:gd name="connsiteX1" fmla="*/ 421335 w 1171589"/>
                  <a:gd name="connsiteY1" fmla="*/ 38522 h 511643"/>
                  <a:gd name="connsiteX2" fmla="*/ 458102 w 1171589"/>
                  <a:gd name="connsiteY2" fmla="*/ 123468 h 511643"/>
                  <a:gd name="connsiteX3" fmla="*/ 478970 w 1171589"/>
                  <a:gd name="connsiteY3" fmla="*/ 168904 h 511643"/>
                  <a:gd name="connsiteX4" fmla="*/ 499838 w 1171589"/>
                  <a:gd name="connsiteY4" fmla="*/ 208413 h 511643"/>
                  <a:gd name="connsiteX5" fmla="*/ 507788 w 1171589"/>
                  <a:gd name="connsiteY5" fmla="*/ 223229 h 511643"/>
                  <a:gd name="connsiteX6" fmla="*/ 516732 w 1171589"/>
                  <a:gd name="connsiteY6" fmla="*/ 236070 h 511643"/>
                  <a:gd name="connsiteX7" fmla="*/ 521700 w 1171589"/>
                  <a:gd name="connsiteY7" fmla="*/ 243972 h 511643"/>
                  <a:gd name="connsiteX8" fmla="*/ 524681 w 1171589"/>
                  <a:gd name="connsiteY8" fmla="*/ 246935 h 511643"/>
                  <a:gd name="connsiteX9" fmla="*/ 527662 w 1171589"/>
                  <a:gd name="connsiteY9" fmla="*/ 246935 h 511643"/>
                  <a:gd name="connsiteX10" fmla="*/ 530644 w 1171589"/>
                  <a:gd name="connsiteY10" fmla="*/ 246935 h 511643"/>
                  <a:gd name="connsiteX11" fmla="*/ 532631 w 1171589"/>
                  <a:gd name="connsiteY11" fmla="*/ 243972 h 511643"/>
                  <a:gd name="connsiteX12" fmla="*/ 538593 w 1171589"/>
                  <a:gd name="connsiteY12" fmla="*/ 237058 h 511643"/>
                  <a:gd name="connsiteX13" fmla="*/ 543562 w 1171589"/>
                  <a:gd name="connsiteY13" fmla="*/ 225205 h 511643"/>
                  <a:gd name="connsiteX14" fmla="*/ 549524 w 1171589"/>
                  <a:gd name="connsiteY14" fmla="*/ 211376 h 511643"/>
                  <a:gd name="connsiteX15" fmla="*/ 553499 w 1171589"/>
                  <a:gd name="connsiteY15" fmla="*/ 195573 h 511643"/>
                  <a:gd name="connsiteX16" fmla="*/ 557474 w 1171589"/>
                  <a:gd name="connsiteY16" fmla="*/ 177793 h 511643"/>
                  <a:gd name="connsiteX17" fmla="*/ 559461 w 1171589"/>
                  <a:gd name="connsiteY17" fmla="*/ 161989 h 511643"/>
                  <a:gd name="connsiteX18" fmla="*/ 560455 w 1171589"/>
                  <a:gd name="connsiteY18" fmla="*/ 145198 h 511643"/>
                  <a:gd name="connsiteX19" fmla="*/ 559461 w 1171589"/>
                  <a:gd name="connsiteY19" fmla="*/ 133345 h 511643"/>
                  <a:gd name="connsiteX20" fmla="*/ 557474 w 1171589"/>
                  <a:gd name="connsiteY20" fmla="*/ 124455 h 511643"/>
                  <a:gd name="connsiteX21" fmla="*/ 554493 w 1171589"/>
                  <a:gd name="connsiteY21" fmla="*/ 117541 h 511643"/>
                  <a:gd name="connsiteX22" fmla="*/ 552505 w 1171589"/>
                  <a:gd name="connsiteY22" fmla="*/ 112602 h 511643"/>
                  <a:gd name="connsiteX23" fmla="*/ 543562 w 1171589"/>
                  <a:gd name="connsiteY23" fmla="*/ 104701 h 511643"/>
                  <a:gd name="connsiteX24" fmla="*/ 538593 w 1171589"/>
                  <a:gd name="connsiteY24" fmla="*/ 99762 h 511643"/>
                  <a:gd name="connsiteX25" fmla="*/ 534618 w 1171589"/>
                  <a:gd name="connsiteY25" fmla="*/ 94823 h 511643"/>
                  <a:gd name="connsiteX26" fmla="*/ 525675 w 1171589"/>
                  <a:gd name="connsiteY26" fmla="*/ 80995 h 511643"/>
                  <a:gd name="connsiteX27" fmla="*/ 518719 w 1171589"/>
                  <a:gd name="connsiteY27" fmla="*/ 69142 h 511643"/>
                  <a:gd name="connsiteX28" fmla="*/ 513750 w 1171589"/>
                  <a:gd name="connsiteY28" fmla="*/ 53338 h 511643"/>
                  <a:gd name="connsiteX29" fmla="*/ 657839 w 1171589"/>
                  <a:gd name="connsiteY29" fmla="*/ 53338 h 511643"/>
                  <a:gd name="connsiteX30" fmla="*/ 652870 w 1171589"/>
                  <a:gd name="connsiteY30" fmla="*/ 69142 h 511643"/>
                  <a:gd name="connsiteX31" fmla="*/ 645914 w 1171589"/>
                  <a:gd name="connsiteY31" fmla="*/ 80995 h 511643"/>
                  <a:gd name="connsiteX32" fmla="*/ 637965 w 1171589"/>
                  <a:gd name="connsiteY32" fmla="*/ 94823 h 511643"/>
                  <a:gd name="connsiteX33" fmla="*/ 632002 w 1171589"/>
                  <a:gd name="connsiteY33" fmla="*/ 99762 h 511643"/>
                  <a:gd name="connsiteX34" fmla="*/ 628028 w 1171589"/>
                  <a:gd name="connsiteY34" fmla="*/ 104701 h 511643"/>
                  <a:gd name="connsiteX35" fmla="*/ 620078 w 1171589"/>
                  <a:gd name="connsiteY35" fmla="*/ 112602 h 511643"/>
                  <a:gd name="connsiteX36" fmla="*/ 617097 w 1171589"/>
                  <a:gd name="connsiteY36" fmla="*/ 117541 h 511643"/>
                  <a:gd name="connsiteX37" fmla="*/ 614116 w 1171589"/>
                  <a:gd name="connsiteY37" fmla="*/ 124455 h 511643"/>
                  <a:gd name="connsiteX38" fmla="*/ 611134 w 1171589"/>
                  <a:gd name="connsiteY38" fmla="*/ 133345 h 511643"/>
                  <a:gd name="connsiteX39" fmla="*/ 611134 w 1171589"/>
                  <a:gd name="connsiteY39" fmla="*/ 145198 h 511643"/>
                  <a:gd name="connsiteX40" fmla="*/ 613122 w 1171589"/>
                  <a:gd name="connsiteY40" fmla="*/ 161989 h 511643"/>
                  <a:gd name="connsiteX41" fmla="*/ 614116 w 1171589"/>
                  <a:gd name="connsiteY41" fmla="*/ 177793 h 511643"/>
                  <a:gd name="connsiteX42" fmla="*/ 618090 w 1171589"/>
                  <a:gd name="connsiteY42" fmla="*/ 195573 h 511643"/>
                  <a:gd name="connsiteX43" fmla="*/ 622065 w 1171589"/>
                  <a:gd name="connsiteY43" fmla="*/ 211376 h 511643"/>
                  <a:gd name="connsiteX44" fmla="*/ 627034 w 1171589"/>
                  <a:gd name="connsiteY44" fmla="*/ 225205 h 511643"/>
                  <a:gd name="connsiteX45" fmla="*/ 632002 w 1171589"/>
                  <a:gd name="connsiteY45" fmla="*/ 237058 h 511643"/>
                  <a:gd name="connsiteX46" fmla="*/ 637965 w 1171589"/>
                  <a:gd name="connsiteY46" fmla="*/ 243972 h 511643"/>
                  <a:gd name="connsiteX47" fmla="*/ 641940 w 1171589"/>
                  <a:gd name="connsiteY47" fmla="*/ 246935 h 511643"/>
                  <a:gd name="connsiteX48" fmla="*/ 644921 w 1171589"/>
                  <a:gd name="connsiteY48" fmla="*/ 246935 h 511643"/>
                  <a:gd name="connsiteX49" fmla="*/ 645914 w 1171589"/>
                  <a:gd name="connsiteY49" fmla="*/ 246935 h 511643"/>
                  <a:gd name="connsiteX50" fmla="*/ 648896 w 1171589"/>
                  <a:gd name="connsiteY50" fmla="*/ 243972 h 511643"/>
                  <a:gd name="connsiteX51" fmla="*/ 655852 w 1171589"/>
                  <a:gd name="connsiteY51" fmla="*/ 236070 h 511643"/>
                  <a:gd name="connsiteX52" fmla="*/ 663801 w 1171589"/>
                  <a:gd name="connsiteY52" fmla="*/ 223229 h 511643"/>
                  <a:gd name="connsiteX53" fmla="*/ 671751 w 1171589"/>
                  <a:gd name="connsiteY53" fmla="*/ 208413 h 511643"/>
                  <a:gd name="connsiteX54" fmla="*/ 692619 w 1171589"/>
                  <a:gd name="connsiteY54" fmla="*/ 168904 h 511643"/>
                  <a:gd name="connsiteX55" fmla="*/ 713487 w 1171589"/>
                  <a:gd name="connsiteY55" fmla="*/ 123468 h 511643"/>
                  <a:gd name="connsiteX56" fmla="*/ 750254 w 1171589"/>
                  <a:gd name="connsiteY56" fmla="*/ 38522 h 511643"/>
                  <a:gd name="connsiteX57" fmla="*/ 765160 w 1171589"/>
                  <a:gd name="connsiteY57" fmla="*/ 0 h 511643"/>
                  <a:gd name="connsiteX58" fmla="*/ 772116 w 1171589"/>
                  <a:gd name="connsiteY58" fmla="*/ 5927 h 511643"/>
                  <a:gd name="connsiteX59" fmla="*/ 789009 w 1171589"/>
                  <a:gd name="connsiteY59" fmla="*/ 17779 h 511643"/>
                  <a:gd name="connsiteX60" fmla="*/ 801928 w 1171589"/>
                  <a:gd name="connsiteY60" fmla="*/ 26669 h 511643"/>
                  <a:gd name="connsiteX61" fmla="*/ 816833 w 1171589"/>
                  <a:gd name="connsiteY61" fmla="*/ 34571 h 511643"/>
                  <a:gd name="connsiteX62" fmla="*/ 834720 w 1171589"/>
                  <a:gd name="connsiteY62" fmla="*/ 42473 h 511643"/>
                  <a:gd name="connsiteX63" fmla="*/ 853601 w 1171589"/>
                  <a:gd name="connsiteY63" fmla="*/ 49387 h 511643"/>
                  <a:gd name="connsiteX64" fmla="*/ 870494 w 1171589"/>
                  <a:gd name="connsiteY64" fmla="*/ 55314 h 511643"/>
                  <a:gd name="connsiteX65" fmla="*/ 889374 w 1171589"/>
                  <a:gd name="connsiteY65" fmla="*/ 59264 h 511643"/>
                  <a:gd name="connsiteX66" fmla="*/ 911236 w 1171589"/>
                  <a:gd name="connsiteY66" fmla="*/ 64203 h 511643"/>
                  <a:gd name="connsiteX67" fmla="*/ 936079 w 1171589"/>
                  <a:gd name="connsiteY67" fmla="*/ 74081 h 511643"/>
                  <a:gd name="connsiteX68" fmla="*/ 949991 w 1171589"/>
                  <a:gd name="connsiteY68" fmla="*/ 80007 h 511643"/>
                  <a:gd name="connsiteX69" fmla="*/ 964897 w 1171589"/>
                  <a:gd name="connsiteY69" fmla="*/ 86921 h 511643"/>
                  <a:gd name="connsiteX70" fmla="*/ 980796 w 1171589"/>
                  <a:gd name="connsiteY70" fmla="*/ 94823 h 511643"/>
                  <a:gd name="connsiteX71" fmla="*/ 995702 w 1171589"/>
                  <a:gd name="connsiteY71" fmla="*/ 105688 h 511643"/>
                  <a:gd name="connsiteX72" fmla="*/ 1012595 w 1171589"/>
                  <a:gd name="connsiteY72" fmla="*/ 116553 h 511643"/>
                  <a:gd name="connsiteX73" fmla="*/ 1028494 w 1171589"/>
                  <a:gd name="connsiteY73" fmla="*/ 130382 h 511643"/>
                  <a:gd name="connsiteX74" fmla="*/ 1046381 w 1171589"/>
                  <a:gd name="connsiteY74" fmla="*/ 147173 h 511643"/>
                  <a:gd name="connsiteX75" fmla="*/ 1064268 w 1171589"/>
                  <a:gd name="connsiteY75" fmla="*/ 164953 h 511643"/>
                  <a:gd name="connsiteX76" fmla="*/ 1081161 w 1171589"/>
                  <a:gd name="connsiteY76" fmla="*/ 182732 h 511643"/>
                  <a:gd name="connsiteX77" fmla="*/ 1095073 w 1171589"/>
                  <a:gd name="connsiteY77" fmla="*/ 200511 h 511643"/>
                  <a:gd name="connsiteX78" fmla="*/ 1106998 w 1171589"/>
                  <a:gd name="connsiteY78" fmla="*/ 219278 h 511643"/>
                  <a:gd name="connsiteX79" fmla="*/ 1119916 w 1171589"/>
                  <a:gd name="connsiteY79" fmla="*/ 237058 h 511643"/>
                  <a:gd name="connsiteX80" fmla="*/ 1128859 w 1171589"/>
                  <a:gd name="connsiteY80" fmla="*/ 255825 h 511643"/>
                  <a:gd name="connsiteX81" fmla="*/ 1137803 w 1171589"/>
                  <a:gd name="connsiteY81" fmla="*/ 273604 h 511643"/>
                  <a:gd name="connsiteX82" fmla="*/ 1150721 w 1171589"/>
                  <a:gd name="connsiteY82" fmla="*/ 307187 h 511643"/>
                  <a:gd name="connsiteX83" fmla="*/ 1160658 w 1171589"/>
                  <a:gd name="connsiteY83" fmla="*/ 335832 h 511643"/>
                  <a:gd name="connsiteX84" fmla="*/ 1167614 w 1171589"/>
                  <a:gd name="connsiteY84" fmla="*/ 358550 h 511643"/>
                  <a:gd name="connsiteX85" fmla="*/ 1168203 w 1171589"/>
                  <a:gd name="connsiteY85" fmla="*/ 361624 h 511643"/>
                  <a:gd name="connsiteX86" fmla="*/ 1171589 w 1171589"/>
                  <a:gd name="connsiteY86" fmla="*/ 361624 h 511643"/>
                  <a:gd name="connsiteX87" fmla="*/ 1171589 w 1171589"/>
                  <a:gd name="connsiteY87" fmla="*/ 379292 h 511643"/>
                  <a:gd name="connsiteX88" fmla="*/ 1171589 w 1171589"/>
                  <a:gd name="connsiteY88" fmla="*/ 511643 h 511643"/>
                  <a:gd name="connsiteX89" fmla="*/ 0 w 1171589"/>
                  <a:gd name="connsiteY89" fmla="*/ 511643 h 511643"/>
                  <a:gd name="connsiteX90" fmla="*/ 0 w 1171589"/>
                  <a:gd name="connsiteY90" fmla="*/ 379292 h 511643"/>
                  <a:gd name="connsiteX91" fmla="*/ 0 w 1171589"/>
                  <a:gd name="connsiteY91" fmla="*/ 361624 h 511643"/>
                  <a:gd name="connsiteX92" fmla="*/ 3386 w 1171589"/>
                  <a:gd name="connsiteY92" fmla="*/ 361624 h 511643"/>
                  <a:gd name="connsiteX93" fmla="*/ 3975 w 1171589"/>
                  <a:gd name="connsiteY93" fmla="*/ 358550 h 511643"/>
                  <a:gd name="connsiteX94" fmla="*/ 9937 w 1171589"/>
                  <a:gd name="connsiteY94" fmla="*/ 335832 h 511643"/>
                  <a:gd name="connsiteX95" fmla="*/ 18881 w 1171589"/>
                  <a:gd name="connsiteY95" fmla="*/ 307187 h 511643"/>
                  <a:gd name="connsiteX96" fmla="*/ 32793 w 1171589"/>
                  <a:gd name="connsiteY96" fmla="*/ 273604 h 511643"/>
                  <a:gd name="connsiteX97" fmla="*/ 42730 w 1171589"/>
                  <a:gd name="connsiteY97" fmla="*/ 255825 h 511643"/>
                  <a:gd name="connsiteX98" fmla="*/ 52667 w 1171589"/>
                  <a:gd name="connsiteY98" fmla="*/ 237058 h 511643"/>
                  <a:gd name="connsiteX99" fmla="*/ 63598 w 1171589"/>
                  <a:gd name="connsiteY99" fmla="*/ 219278 h 511643"/>
                  <a:gd name="connsiteX100" fmla="*/ 77510 w 1171589"/>
                  <a:gd name="connsiteY100" fmla="*/ 200511 h 511643"/>
                  <a:gd name="connsiteX101" fmla="*/ 90428 w 1171589"/>
                  <a:gd name="connsiteY101" fmla="*/ 182732 h 511643"/>
                  <a:gd name="connsiteX102" fmla="*/ 107321 w 1171589"/>
                  <a:gd name="connsiteY102" fmla="*/ 164953 h 511643"/>
                  <a:gd name="connsiteX103" fmla="*/ 125208 w 1171589"/>
                  <a:gd name="connsiteY103" fmla="*/ 147173 h 511643"/>
                  <a:gd name="connsiteX104" fmla="*/ 143095 w 1171589"/>
                  <a:gd name="connsiteY104" fmla="*/ 130382 h 511643"/>
                  <a:gd name="connsiteX105" fmla="*/ 159988 w 1171589"/>
                  <a:gd name="connsiteY105" fmla="*/ 116553 h 511643"/>
                  <a:gd name="connsiteX106" fmla="*/ 175888 w 1171589"/>
                  <a:gd name="connsiteY106" fmla="*/ 105688 h 511643"/>
                  <a:gd name="connsiteX107" fmla="*/ 191787 w 1171589"/>
                  <a:gd name="connsiteY107" fmla="*/ 94823 h 511643"/>
                  <a:gd name="connsiteX108" fmla="*/ 206693 w 1171589"/>
                  <a:gd name="connsiteY108" fmla="*/ 86921 h 511643"/>
                  <a:gd name="connsiteX109" fmla="*/ 220605 w 1171589"/>
                  <a:gd name="connsiteY109" fmla="*/ 80007 h 511643"/>
                  <a:gd name="connsiteX110" fmla="*/ 234517 w 1171589"/>
                  <a:gd name="connsiteY110" fmla="*/ 74081 h 511643"/>
                  <a:gd name="connsiteX111" fmla="*/ 260353 w 1171589"/>
                  <a:gd name="connsiteY111" fmla="*/ 64203 h 511643"/>
                  <a:gd name="connsiteX112" fmla="*/ 282215 w 1171589"/>
                  <a:gd name="connsiteY112" fmla="*/ 59264 h 511643"/>
                  <a:gd name="connsiteX113" fmla="*/ 301096 w 1171589"/>
                  <a:gd name="connsiteY113" fmla="*/ 55314 h 511643"/>
                  <a:gd name="connsiteX114" fmla="*/ 317989 w 1171589"/>
                  <a:gd name="connsiteY114" fmla="*/ 49387 h 511643"/>
                  <a:gd name="connsiteX115" fmla="*/ 337863 w 1171589"/>
                  <a:gd name="connsiteY115" fmla="*/ 42473 h 511643"/>
                  <a:gd name="connsiteX116" fmla="*/ 355750 w 1171589"/>
                  <a:gd name="connsiteY116" fmla="*/ 34571 h 511643"/>
                  <a:gd name="connsiteX117" fmla="*/ 368668 w 1171589"/>
                  <a:gd name="connsiteY117" fmla="*/ 26669 h 511643"/>
                  <a:gd name="connsiteX118" fmla="*/ 382580 w 1171589"/>
                  <a:gd name="connsiteY118" fmla="*/ 17779 h 511643"/>
                  <a:gd name="connsiteX119" fmla="*/ 399473 w 1171589"/>
                  <a:gd name="connsiteY119" fmla="*/ 5927 h 51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171589" h="511643">
                    <a:moveTo>
                      <a:pt x="406429" y="0"/>
                    </a:moveTo>
                    <a:lnTo>
                      <a:pt x="421335" y="38522"/>
                    </a:lnTo>
                    <a:lnTo>
                      <a:pt x="458102" y="123468"/>
                    </a:lnTo>
                    <a:lnTo>
                      <a:pt x="478970" y="168904"/>
                    </a:lnTo>
                    <a:lnTo>
                      <a:pt x="499838" y="208413"/>
                    </a:lnTo>
                    <a:lnTo>
                      <a:pt x="507788" y="223229"/>
                    </a:lnTo>
                    <a:lnTo>
                      <a:pt x="516732" y="236070"/>
                    </a:lnTo>
                    <a:lnTo>
                      <a:pt x="521700" y="243972"/>
                    </a:lnTo>
                    <a:lnTo>
                      <a:pt x="524681" y="246935"/>
                    </a:lnTo>
                    <a:lnTo>
                      <a:pt x="527662" y="246935"/>
                    </a:lnTo>
                    <a:lnTo>
                      <a:pt x="530644" y="246935"/>
                    </a:lnTo>
                    <a:lnTo>
                      <a:pt x="532631" y="243972"/>
                    </a:lnTo>
                    <a:lnTo>
                      <a:pt x="538593" y="237058"/>
                    </a:lnTo>
                    <a:lnTo>
                      <a:pt x="543562" y="225205"/>
                    </a:lnTo>
                    <a:lnTo>
                      <a:pt x="549524" y="211376"/>
                    </a:lnTo>
                    <a:lnTo>
                      <a:pt x="553499" y="195573"/>
                    </a:lnTo>
                    <a:lnTo>
                      <a:pt x="557474" y="177793"/>
                    </a:lnTo>
                    <a:lnTo>
                      <a:pt x="559461" y="161989"/>
                    </a:lnTo>
                    <a:lnTo>
                      <a:pt x="560455" y="145198"/>
                    </a:lnTo>
                    <a:lnTo>
                      <a:pt x="559461" y="133345"/>
                    </a:lnTo>
                    <a:lnTo>
                      <a:pt x="557474" y="124455"/>
                    </a:lnTo>
                    <a:lnTo>
                      <a:pt x="554493" y="117541"/>
                    </a:lnTo>
                    <a:lnTo>
                      <a:pt x="552505" y="112602"/>
                    </a:lnTo>
                    <a:lnTo>
                      <a:pt x="543562" y="104701"/>
                    </a:lnTo>
                    <a:lnTo>
                      <a:pt x="538593" y="99762"/>
                    </a:lnTo>
                    <a:lnTo>
                      <a:pt x="534618" y="94823"/>
                    </a:lnTo>
                    <a:lnTo>
                      <a:pt x="525675" y="80995"/>
                    </a:lnTo>
                    <a:lnTo>
                      <a:pt x="518719" y="69142"/>
                    </a:lnTo>
                    <a:lnTo>
                      <a:pt x="513750" y="53338"/>
                    </a:lnTo>
                    <a:lnTo>
                      <a:pt x="657839" y="53338"/>
                    </a:lnTo>
                    <a:lnTo>
                      <a:pt x="652870" y="69142"/>
                    </a:lnTo>
                    <a:lnTo>
                      <a:pt x="645914" y="80995"/>
                    </a:lnTo>
                    <a:lnTo>
                      <a:pt x="637965" y="94823"/>
                    </a:lnTo>
                    <a:lnTo>
                      <a:pt x="632002" y="99762"/>
                    </a:lnTo>
                    <a:lnTo>
                      <a:pt x="628028" y="104701"/>
                    </a:lnTo>
                    <a:lnTo>
                      <a:pt x="620078" y="112602"/>
                    </a:lnTo>
                    <a:lnTo>
                      <a:pt x="617097" y="117541"/>
                    </a:lnTo>
                    <a:lnTo>
                      <a:pt x="614116" y="124455"/>
                    </a:lnTo>
                    <a:lnTo>
                      <a:pt x="611134" y="133345"/>
                    </a:lnTo>
                    <a:lnTo>
                      <a:pt x="611134" y="145198"/>
                    </a:lnTo>
                    <a:lnTo>
                      <a:pt x="613122" y="161989"/>
                    </a:lnTo>
                    <a:lnTo>
                      <a:pt x="614116" y="177793"/>
                    </a:lnTo>
                    <a:lnTo>
                      <a:pt x="618090" y="195573"/>
                    </a:lnTo>
                    <a:lnTo>
                      <a:pt x="622065" y="211376"/>
                    </a:lnTo>
                    <a:lnTo>
                      <a:pt x="627034" y="225205"/>
                    </a:lnTo>
                    <a:lnTo>
                      <a:pt x="632002" y="237058"/>
                    </a:lnTo>
                    <a:lnTo>
                      <a:pt x="637965" y="243972"/>
                    </a:lnTo>
                    <a:lnTo>
                      <a:pt x="641940" y="246935"/>
                    </a:lnTo>
                    <a:lnTo>
                      <a:pt x="644921" y="246935"/>
                    </a:lnTo>
                    <a:lnTo>
                      <a:pt x="645914" y="246935"/>
                    </a:lnTo>
                    <a:lnTo>
                      <a:pt x="648896" y="243972"/>
                    </a:lnTo>
                    <a:lnTo>
                      <a:pt x="655852" y="236070"/>
                    </a:lnTo>
                    <a:lnTo>
                      <a:pt x="663801" y="223229"/>
                    </a:lnTo>
                    <a:lnTo>
                      <a:pt x="671751" y="208413"/>
                    </a:lnTo>
                    <a:lnTo>
                      <a:pt x="692619" y="168904"/>
                    </a:lnTo>
                    <a:lnTo>
                      <a:pt x="713487" y="123468"/>
                    </a:lnTo>
                    <a:lnTo>
                      <a:pt x="750254" y="38522"/>
                    </a:lnTo>
                    <a:lnTo>
                      <a:pt x="765160" y="0"/>
                    </a:lnTo>
                    <a:lnTo>
                      <a:pt x="772116" y="5927"/>
                    </a:lnTo>
                    <a:lnTo>
                      <a:pt x="789009" y="17779"/>
                    </a:lnTo>
                    <a:lnTo>
                      <a:pt x="801928" y="26669"/>
                    </a:lnTo>
                    <a:lnTo>
                      <a:pt x="816833" y="34571"/>
                    </a:lnTo>
                    <a:lnTo>
                      <a:pt x="834720" y="42473"/>
                    </a:lnTo>
                    <a:lnTo>
                      <a:pt x="853601" y="49387"/>
                    </a:lnTo>
                    <a:lnTo>
                      <a:pt x="870494" y="55314"/>
                    </a:lnTo>
                    <a:lnTo>
                      <a:pt x="889374" y="59264"/>
                    </a:lnTo>
                    <a:lnTo>
                      <a:pt x="911236" y="64203"/>
                    </a:lnTo>
                    <a:lnTo>
                      <a:pt x="936079" y="74081"/>
                    </a:lnTo>
                    <a:lnTo>
                      <a:pt x="949991" y="80007"/>
                    </a:lnTo>
                    <a:lnTo>
                      <a:pt x="964897" y="86921"/>
                    </a:lnTo>
                    <a:lnTo>
                      <a:pt x="980796" y="94823"/>
                    </a:lnTo>
                    <a:lnTo>
                      <a:pt x="995702" y="105688"/>
                    </a:lnTo>
                    <a:lnTo>
                      <a:pt x="1012595" y="116553"/>
                    </a:lnTo>
                    <a:lnTo>
                      <a:pt x="1028494" y="130382"/>
                    </a:lnTo>
                    <a:lnTo>
                      <a:pt x="1046381" y="147173"/>
                    </a:lnTo>
                    <a:lnTo>
                      <a:pt x="1064268" y="164953"/>
                    </a:lnTo>
                    <a:lnTo>
                      <a:pt x="1081161" y="182732"/>
                    </a:lnTo>
                    <a:lnTo>
                      <a:pt x="1095073" y="200511"/>
                    </a:lnTo>
                    <a:lnTo>
                      <a:pt x="1106998" y="219278"/>
                    </a:lnTo>
                    <a:lnTo>
                      <a:pt x="1119916" y="237058"/>
                    </a:lnTo>
                    <a:lnTo>
                      <a:pt x="1128859" y="255825"/>
                    </a:lnTo>
                    <a:lnTo>
                      <a:pt x="1137803" y="273604"/>
                    </a:lnTo>
                    <a:lnTo>
                      <a:pt x="1150721" y="307187"/>
                    </a:lnTo>
                    <a:lnTo>
                      <a:pt x="1160658" y="335832"/>
                    </a:lnTo>
                    <a:lnTo>
                      <a:pt x="1167614" y="358550"/>
                    </a:lnTo>
                    <a:lnTo>
                      <a:pt x="1168203" y="361624"/>
                    </a:lnTo>
                    <a:lnTo>
                      <a:pt x="1171589" y="361624"/>
                    </a:lnTo>
                    <a:lnTo>
                      <a:pt x="1171589" y="379292"/>
                    </a:lnTo>
                    <a:lnTo>
                      <a:pt x="1171589" y="511643"/>
                    </a:lnTo>
                    <a:lnTo>
                      <a:pt x="0" y="511643"/>
                    </a:lnTo>
                    <a:lnTo>
                      <a:pt x="0" y="379292"/>
                    </a:lnTo>
                    <a:lnTo>
                      <a:pt x="0" y="361624"/>
                    </a:lnTo>
                    <a:lnTo>
                      <a:pt x="3386" y="361624"/>
                    </a:lnTo>
                    <a:lnTo>
                      <a:pt x="3975" y="358550"/>
                    </a:lnTo>
                    <a:lnTo>
                      <a:pt x="9937" y="335832"/>
                    </a:lnTo>
                    <a:lnTo>
                      <a:pt x="18881" y="307187"/>
                    </a:lnTo>
                    <a:lnTo>
                      <a:pt x="32793" y="273604"/>
                    </a:lnTo>
                    <a:lnTo>
                      <a:pt x="42730" y="255825"/>
                    </a:lnTo>
                    <a:lnTo>
                      <a:pt x="52667" y="237058"/>
                    </a:lnTo>
                    <a:lnTo>
                      <a:pt x="63598" y="219278"/>
                    </a:lnTo>
                    <a:lnTo>
                      <a:pt x="77510" y="200511"/>
                    </a:lnTo>
                    <a:lnTo>
                      <a:pt x="90428" y="182732"/>
                    </a:lnTo>
                    <a:lnTo>
                      <a:pt x="107321" y="164953"/>
                    </a:lnTo>
                    <a:lnTo>
                      <a:pt x="125208" y="147173"/>
                    </a:lnTo>
                    <a:lnTo>
                      <a:pt x="143095" y="130382"/>
                    </a:lnTo>
                    <a:lnTo>
                      <a:pt x="159988" y="116553"/>
                    </a:lnTo>
                    <a:lnTo>
                      <a:pt x="175888" y="105688"/>
                    </a:lnTo>
                    <a:lnTo>
                      <a:pt x="191787" y="94823"/>
                    </a:lnTo>
                    <a:lnTo>
                      <a:pt x="206693" y="86921"/>
                    </a:lnTo>
                    <a:lnTo>
                      <a:pt x="220605" y="80007"/>
                    </a:lnTo>
                    <a:lnTo>
                      <a:pt x="234517" y="74081"/>
                    </a:lnTo>
                    <a:lnTo>
                      <a:pt x="260353" y="64203"/>
                    </a:lnTo>
                    <a:lnTo>
                      <a:pt x="282215" y="59264"/>
                    </a:lnTo>
                    <a:lnTo>
                      <a:pt x="301096" y="55314"/>
                    </a:lnTo>
                    <a:lnTo>
                      <a:pt x="317989" y="49387"/>
                    </a:lnTo>
                    <a:lnTo>
                      <a:pt x="337863" y="42473"/>
                    </a:lnTo>
                    <a:lnTo>
                      <a:pt x="355750" y="34571"/>
                    </a:lnTo>
                    <a:lnTo>
                      <a:pt x="368668" y="26669"/>
                    </a:lnTo>
                    <a:lnTo>
                      <a:pt x="382580" y="17779"/>
                    </a:lnTo>
                    <a:lnTo>
                      <a:pt x="399473" y="59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60" name="深度视觉·原创设计 https://www.docer.com/works?userid=22383862"/>
              <p:cNvSpPr/>
              <p:nvPr/>
            </p:nvSpPr>
            <p:spPr bwMode="auto">
              <a:xfrm>
                <a:off x="5882781" y="3164683"/>
                <a:ext cx="430907" cy="605340"/>
              </a:xfrm>
              <a:custGeom>
                <a:avLst/>
                <a:gdLst>
                  <a:gd name="T0" fmla="*/ 215 w 432"/>
                  <a:gd name="T1" fmla="*/ 610 h 610"/>
                  <a:gd name="T2" fmla="*/ 233 w 432"/>
                  <a:gd name="T3" fmla="*/ 609 h 610"/>
                  <a:gd name="T4" fmla="*/ 258 w 432"/>
                  <a:gd name="T5" fmla="*/ 602 h 610"/>
                  <a:gd name="T6" fmla="*/ 289 w 432"/>
                  <a:gd name="T7" fmla="*/ 587 h 610"/>
                  <a:gd name="T8" fmla="*/ 306 w 432"/>
                  <a:gd name="T9" fmla="*/ 576 h 610"/>
                  <a:gd name="T10" fmla="*/ 339 w 432"/>
                  <a:gd name="T11" fmla="*/ 544 h 610"/>
                  <a:gd name="T12" fmla="*/ 375 w 432"/>
                  <a:gd name="T13" fmla="*/ 494 h 610"/>
                  <a:gd name="T14" fmla="*/ 402 w 432"/>
                  <a:gd name="T15" fmla="*/ 448 h 610"/>
                  <a:gd name="T16" fmla="*/ 415 w 432"/>
                  <a:gd name="T17" fmla="*/ 412 h 610"/>
                  <a:gd name="T18" fmla="*/ 425 w 432"/>
                  <a:gd name="T19" fmla="*/ 375 h 610"/>
                  <a:gd name="T20" fmla="*/ 428 w 432"/>
                  <a:gd name="T21" fmla="*/ 355 h 610"/>
                  <a:gd name="T22" fmla="*/ 432 w 432"/>
                  <a:gd name="T23" fmla="*/ 287 h 610"/>
                  <a:gd name="T24" fmla="*/ 429 w 432"/>
                  <a:gd name="T25" fmla="*/ 208 h 610"/>
                  <a:gd name="T26" fmla="*/ 422 w 432"/>
                  <a:gd name="T27" fmla="*/ 168 h 610"/>
                  <a:gd name="T28" fmla="*/ 413 w 432"/>
                  <a:gd name="T29" fmla="*/ 132 h 610"/>
                  <a:gd name="T30" fmla="*/ 397 w 432"/>
                  <a:gd name="T31" fmla="*/ 99 h 610"/>
                  <a:gd name="T32" fmla="*/ 378 w 432"/>
                  <a:gd name="T33" fmla="*/ 73 h 610"/>
                  <a:gd name="T34" fmla="*/ 364 w 432"/>
                  <a:gd name="T35" fmla="*/ 59 h 610"/>
                  <a:gd name="T36" fmla="*/ 337 w 432"/>
                  <a:gd name="T37" fmla="*/ 38 h 610"/>
                  <a:gd name="T38" fmla="*/ 309 w 432"/>
                  <a:gd name="T39" fmla="*/ 23 h 610"/>
                  <a:gd name="T40" fmla="*/ 270 w 432"/>
                  <a:gd name="T41" fmla="*/ 9 h 610"/>
                  <a:gd name="T42" fmla="*/ 231 w 432"/>
                  <a:gd name="T43" fmla="*/ 2 h 610"/>
                  <a:gd name="T44" fmla="*/ 216 w 432"/>
                  <a:gd name="T45" fmla="*/ 0 h 610"/>
                  <a:gd name="T46" fmla="*/ 184 w 432"/>
                  <a:gd name="T47" fmla="*/ 5 h 610"/>
                  <a:gd name="T48" fmla="*/ 137 w 432"/>
                  <a:gd name="T49" fmla="*/ 17 h 610"/>
                  <a:gd name="T50" fmla="*/ 109 w 432"/>
                  <a:gd name="T51" fmla="*/ 30 h 610"/>
                  <a:gd name="T52" fmla="*/ 82 w 432"/>
                  <a:gd name="T53" fmla="*/ 48 h 610"/>
                  <a:gd name="T54" fmla="*/ 55 w 432"/>
                  <a:gd name="T55" fmla="*/ 73 h 610"/>
                  <a:gd name="T56" fmla="*/ 44 w 432"/>
                  <a:gd name="T57" fmla="*/ 85 h 610"/>
                  <a:gd name="T58" fmla="*/ 27 w 432"/>
                  <a:gd name="T59" fmla="*/ 116 h 610"/>
                  <a:gd name="T60" fmla="*/ 15 w 432"/>
                  <a:gd name="T61" fmla="*/ 150 h 610"/>
                  <a:gd name="T62" fmla="*/ 7 w 432"/>
                  <a:gd name="T63" fmla="*/ 188 h 610"/>
                  <a:gd name="T64" fmla="*/ 1 w 432"/>
                  <a:gd name="T65" fmla="*/ 247 h 610"/>
                  <a:gd name="T66" fmla="*/ 1 w 432"/>
                  <a:gd name="T67" fmla="*/ 323 h 610"/>
                  <a:gd name="T68" fmla="*/ 5 w 432"/>
                  <a:gd name="T69" fmla="*/ 355 h 610"/>
                  <a:gd name="T70" fmla="*/ 12 w 432"/>
                  <a:gd name="T71" fmla="*/ 394 h 610"/>
                  <a:gd name="T72" fmla="*/ 25 w 432"/>
                  <a:gd name="T73" fmla="*/ 430 h 610"/>
                  <a:gd name="T74" fmla="*/ 40 w 432"/>
                  <a:gd name="T75" fmla="*/ 463 h 610"/>
                  <a:gd name="T76" fmla="*/ 76 w 432"/>
                  <a:gd name="T77" fmla="*/ 522 h 610"/>
                  <a:gd name="T78" fmla="*/ 112 w 432"/>
                  <a:gd name="T79" fmla="*/ 562 h 610"/>
                  <a:gd name="T80" fmla="*/ 127 w 432"/>
                  <a:gd name="T81" fmla="*/ 576 h 610"/>
                  <a:gd name="T82" fmla="*/ 159 w 432"/>
                  <a:gd name="T83" fmla="*/ 596 h 610"/>
                  <a:gd name="T84" fmla="*/ 188 w 432"/>
                  <a:gd name="T85" fmla="*/ 606 h 610"/>
                  <a:gd name="T86" fmla="*/ 208 w 432"/>
                  <a:gd name="T87" fmla="*/ 610 h 610"/>
                  <a:gd name="T88" fmla="*/ 215 w 432"/>
                  <a:gd name="T8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32" h="610">
                    <a:moveTo>
                      <a:pt x="215" y="610"/>
                    </a:moveTo>
                    <a:lnTo>
                      <a:pt x="215" y="610"/>
                    </a:lnTo>
                    <a:lnTo>
                      <a:pt x="223" y="610"/>
                    </a:lnTo>
                    <a:lnTo>
                      <a:pt x="233" y="609"/>
                    </a:lnTo>
                    <a:lnTo>
                      <a:pt x="244" y="606"/>
                    </a:lnTo>
                    <a:lnTo>
                      <a:pt x="258" y="602"/>
                    </a:lnTo>
                    <a:lnTo>
                      <a:pt x="273" y="596"/>
                    </a:lnTo>
                    <a:lnTo>
                      <a:pt x="289" y="587"/>
                    </a:lnTo>
                    <a:lnTo>
                      <a:pt x="306" y="576"/>
                    </a:lnTo>
                    <a:lnTo>
                      <a:pt x="306" y="576"/>
                    </a:lnTo>
                    <a:lnTo>
                      <a:pt x="321" y="562"/>
                    </a:lnTo>
                    <a:lnTo>
                      <a:pt x="339" y="544"/>
                    </a:lnTo>
                    <a:lnTo>
                      <a:pt x="357" y="522"/>
                    </a:lnTo>
                    <a:lnTo>
                      <a:pt x="375" y="494"/>
                    </a:lnTo>
                    <a:lnTo>
                      <a:pt x="393" y="463"/>
                    </a:lnTo>
                    <a:lnTo>
                      <a:pt x="402" y="448"/>
                    </a:lnTo>
                    <a:lnTo>
                      <a:pt x="409" y="430"/>
                    </a:lnTo>
                    <a:lnTo>
                      <a:pt x="415" y="412"/>
                    </a:lnTo>
                    <a:lnTo>
                      <a:pt x="421" y="394"/>
                    </a:lnTo>
                    <a:lnTo>
                      <a:pt x="425" y="375"/>
                    </a:lnTo>
                    <a:lnTo>
                      <a:pt x="428" y="355"/>
                    </a:lnTo>
                    <a:lnTo>
                      <a:pt x="428" y="355"/>
                    </a:lnTo>
                    <a:lnTo>
                      <a:pt x="431" y="323"/>
                    </a:lnTo>
                    <a:lnTo>
                      <a:pt x="432" y="287"/>
                    </a:lnTo>
                    <a:lnTo>
                      <a:pt x="432" y="247"/>
                    </a:lnTo>
                    <a:lnTo>
                      <a:pt x="429" y="208"/>
                    </a:lnTo>
                    <a:lnTo>
                      <a:pt x="427" y="188"/>
                    </a:lnTo>
                    <a:lnTo>
                      <a:pt x="422" y="168"/>
                    </a:lnTo>
                    <a:lnTo>
                      <a:pt x="418" y="150"/>
                    </a:lnTo>
                    <a:lnTo>
                      <a:pt x="413" y="132"/>
                    </a:lnTo>
                    <a:lnTo>
                      <a:pt x="406" y="116"/>
                    </a:lnTo>
                    <a:lnTo>
                      <a:pt x="397" y="99"/>
                    </a:lnTo>
                    <a:lnTo>
                      <a:pt x="389" y="85"/>
                    </a:lnTo>
                    <a:lnTo>
                      <a:pt x="378" y="73"/>
                    </a:lnTo>
                    <a:lnTo>
                      <a:pt x="378" y="73"/>
                    </a:lnTo>
                    <a:lnTo>
                      <a:pt x="364" y="59"/>
                    </a:lnTo>
                    <a:lnTo>
                      <a:pt x="350" y="48"/>
                    </a:lnTo>
                    <a:lnTo>
                      <a:pt x="337" y="38"/>
                    </a:lnTo>
                    <a:lnTo>
                      <a:pt x="323" y="30"/>
                    </a:lnTo>
                    <a:lnTo>
                      <a:pt x="309" y="23"/>
                    </a:lnTo>
                    <a:lnTo>
                      <a:pt x="296" y="17"/>
                    </a:lnTo>
                    <a:lnTo>
                      <a:pt x="270" y="9"/>
                    </a:lnTo>
                    <a:lnTo>
                      <a:pt x="249" y="5"/>
                    </a:lnTo>
                    <a:lnTo>
                      <a:pt x="231" y="2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01" y="2"/>
                    </a:lnTo>
                    <a:lnTo>
                      <a:pt x="184" y="5"/>
                    </a:lnTo>
                    <a:lnTo>
                      <a:pt x="162" y="9"/>
                    </a:lnTo>
                    <a:lnTo>
                      <a:pt x="137" y="17"/>
                    </a:lnTo>
                    <a:lnTo>
                      <a:pt x="123" y="23"/>
                    </a:lnTo>
                    <a:lnTo>
                      <a:pt x="109" y="30"/>
                    </a:lnTo>
                    <a:lnTo>
                      <a:pt x="95" y="38"/>
                    </a:lnTo>
                    <a:lnTo>
                      <a:pt x="82" y="48"/>
                    </a:lnTo>
                    <a:lnTo>
                      <a:pt x="68" y="59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44" y="85"/>
                    </a:lnTo>
                    <a:lnTo>
                      <a:pt x="36" y="99"/>
                    </a:lnTo>
                    <a:lnTo>
                      <a:pt x="27" y="116"/>
                    </a:lnTo>
                    <a:lnTo>
                      <a:pt x="21" y="132"/>
                    </a:lnTo>
                    <a:lnTo>
                      <a:pt x="15" y="150"/>
                    </a:lnTo>
                    <a:lnTo>
                      <a:pt x="11" y="168"/>
                    </a:lnTo>
                    <a:lnTo>
                      <a:pt x="7" y="188"/>
                    </a:lnTo>
                    <a:lnTo>
                      <a:pt x="4" y="208"/>
                    </a:lnTo>
                    <a:lnTo>
                      <a:pt x="1" y="247"/>
                    </a:lnTo>
                    <a:lnTo>
                      <a:pt x="0" y="287"/>
                    </a:lnTo>
                    <a:lnTo>
                      <a:pt x="1" y="323"/>
                    </a:lnTo>
                    <a:lnTo>
                      <a:pt x="5" y="355"/>
                    </a:lnTo>
                    <a:lnTo>
                      <a:pt x="5" y="355"/>
                    </a:lnTo>
                    <a:lnTo>
                      <a:pt x="8" y="375"/>
                    </a:lnTo>
                    <a:lnTo>
                      <a:pt x="12" y="394"/>
                    </a:lnTo>
                    <a:lnTo>
                      <a:pt x="18" y="412"/>
                    </a:lnTo>
                    <a:lnTo>
                      <a:pt x="25" y="430"/>
                    </a:lnTo>
                    <a:lnTo>
                      <a:pt x="32" y="448"/>
                    </a:lnTo>
                    <a:lnTo>
                      <a:pt x="40" y="463"/>
                    </a:lnTo>
                    <a:lnTo>
                      <a:pt x="57" y="494"/>
                    </a:lnTo>
                    <a:lnTo>
                      <a:pt x="76" y="522"/>
                    </a:lnTo>
                    <a:lnTo>
                      <a:pt x="94" y="544"/>
                    </a:lnTo>
                    <a:lnTo>
                      <a:pt x="112" y="562"/>
                    </a:lnTo>
                    <a:lnTo>
                      <a:pt x="127" y="576"/>
                    </a:lnTo>
                    <a:lnTo>
                      <a:pt x="127" y="576"/>
                    </a:lnTo>
                    <a:lnTo>
                      <a:pt x="144" y="587"/>
                    </a:lnTo>
                    <a:lnTo>
                      <a:pt x="159" y="596"/>
                    </a:lnTo>
                    <a:lnTo>
                      <a:pt x="174" y="602"/>
                    </a:lnTo>
                    <a:lnTo>
                      <a:pt x="188" y="606"/>
                    </a:lnTo>
                    <a:lnTo>
                      <a:pt x="199" y="609"/>
                    </a:lnTo>
                    <a:lnTo>
                      <a:pt x="208" y="610"/>
                    </a:lnTo>
                    <a:lnTo>
                      <a:pt x="215" y="610"/>
                    </a:lnTo>
                    <a:lnTo>
                      <a:pt x="215" y="6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</p:grpSp>
        <p:sp>
          <p:nvSpPr>
            <p:cNvPr id="58" name="深度视觉·原创设计 https://www.docer.com/works?userid=22383862"/>
            <p:cNvSpPr/>
            <p:nvPr/>
          </p:nvSpPr>
          <p:spPr>
            <a:xfrm>
              <a:off x="3528057" y="4113792"/>
              <a:ext cx="15407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buClr>
                  <a:srgbClr val="E24848"/>
                </a:buClr>
              </a:pPr>
              <a:r>
                <a:rPr lang="en-US" sz="1200" b="1" dirty="0">
                  <a:solidFill>
                    <a:schemeClr val="bg1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Open Sans Light" pitchFamily="34" charset="0"/>
                  <a:sym typeface="汉仪正圆-55W" panose="00020600040101010101" pitchFamily="18" charset="-122"/>
                </a:rPr>
                <a:t>ANALYSIS 1</a:t>
              </a:r>
              <a:endParaRPr lang="en-US" sz="1200" b="1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endParaRPr>
            </a:p>
          </p:txBody>
        </p:sp>
      </p:grpSp>
      <p:sp>
        <p:nvSpPr>
          <p:cNvPr id="61" name="深度视觉·原创设计 https://www.docer.com/works?userid=22383862"/>
          <p:cNvSpPr/>
          <p:nvPr/>
        </p:nvSpPr>
        <p:spPr>
          <a:xfrm rot="20038587">
            <a:off x="7427295" y="2534193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2" name="深度视觉·原创设计 https://www.docer.com/works?userid=22383862"/>
          <p:cNvSpPr/>
          <p:nvPr/>
        </p:nvSpPr>
        <p:spPr>
          <a:xfrm>
            <a:off x="7469390" y="2849475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10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5" name="深度视觉·原创设计 https://www.docer.com/works?userid=22383862"/>
          <p:cNvSpPr/>
          <p:nvPr/>
        </p:nvSpPr>
        <p:spPr>
          <a:xfrm rot="20038587">
            <a:off x="3812032" y="1802642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6" name="深度视觉·原创设计 https://www.docer.com/works?userid=22383862"/>
          <p:cNvSpPr/>
          <p:nvPr/>
        </p:nvSpPr>
        <p:spPr>
          <a:xfrm>
            <a:off x="3848191" y="2112059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3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9" name="深度视觉·原创设计 https://www.docer.com/works?userid=22383862"/>
          <p:cNvSpPr/>
          <p:nvPr/>
        </p:nvSpPr>
        <p:spPr>
          <a:xfrm rot="6907592">
            <a:off x="4417714" y="4642253"/>
            <a:ext cx="1005897" cy="10073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0" name="深度视觉·原创设计 https://www.docer.com/works?userid=22383862"/>
          <p:cNvSpPr/>
          <p:nvPr/>
        </p:nvSpPr>
        <p:spPr>
          <a:xfrm>
            <a:off x="4391509" y="4912332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5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0" name="深度视觉·原创设计 https://www.docer.com/works?userid=22383862"/>
          <p:cNvSpPr/>
          <p:nvPr/>
        </p:nvSpPr>
        <p:spPr>
          <a:xfrm>
            <a:off x="8959386" y="2508758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优化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2" name="深度视觉·原创设计 https://www.docer.com/works?userid=22383862"/>
          <p:cNvSpPr/>
          <p:nvPr/>
        </p:nvSpPr>
        <p:spPr>
          <a:xfrm>
            <a:off x="1914025" y="4346852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补齐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4" name="深度视觉·原创设计 https://www.docer.com/works?userid=22383862"/>
          <p:cNvSpPr/>
          <p:nvPr/>
        </p:nvSpPr>
        <p:spPr>
          <a:xfrm>
            <a:off x="1538721" y="1680037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生成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pic>
        <p:nvPicPr>
          <p:cNvPr id="2" name="图片 1" descr="代码生成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640" y="2162175"/>
            <a:ext cx="2851785" cy="1515110"/>
          </a:xfrm>
          <a:prstGeom prst="rect">
            <a:avLst/>
          </a:prstGeom>
        </p:spPr>
      </p:pic>
      <p:pic>
        <p:nvPicPr>
          <p:cNvPr id="3" name="图片 2" descr="F:/pbstar/gomoku/doc/imgs/代码补齐.png代码补齐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l="21" r="21"/>
          <a:stretch>
            <a:fillRect/>
          </a:stretch>
        </p:blipFill>
        <p:spPr>
          <a:xfrm>
            <a:off x="1152525" y="4787265"/>
            <a:ext cx="2851785" cy="1515110"/>
          </a:xfrm>
          <a:prstGeom prst="rect">
            <a:avLst/>
          </a:prstGeom>
        </p:spPr>
      </p:pic>
      <p:pic>
        <p:nvPicPr>
          <p:cNvPr id="6" name="图片 5" descr="F:/pbstar/gomoku/doc/imgs/代码优化.png代码优化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l="21" r="21"/>
          <a:stretch>
            <a:fillRect/>
          </a:stretch>
        </p:blipFill>
        <p:spPr>
          <a:xfrm>
            <a:off x="8821420" y="3104515"/>
            <a:ext cx="2851785" cy="15151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  <p:bldP spid="82" grpId="0"/>
      <p:bldP spid="8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项目成果</a:t>
            </a: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展示</a:t>
            </a:r>
            <a:endParaRPr kumimoji="0" lang="zh-CN" altLang="en-US" sz="4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4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41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Github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：https://github.com/pbstar/gomoku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项目hom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65115" y="1456690"/>
            <a:ext cx="5650865" cy="332994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谢谢观看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ype your content here, either by copying your text, or by text, Type your content here, either by copying your text, or by copying after the text, 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418" y="3580208"/>
            <a:ext cx="46691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6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Work summary report</a:t>
            </a:r>
            <a:endParaRPr lang="zh-CN" altLang="en-US" sz="16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uVkaf7fLpUqy5EXObxpMRQ"/>
</p:tagLst>
</file>

<file path=ppt/tags/tag2.xml><?xml version="1.0" encoding="utf-8"?>
<p:tagLst xmlns:p="http://schemas.openxmlformats.org/presentationml/2006/main">
  <p:tag name="THINKCELLSHAPEDONOTDELETE" val="puVkaf7fLpUqy5EXObxpMRQ"/>
</p:tagLst>
</file>

<file path=ppt/tags/tag3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commondata" val="eyJjb3VudCI6MTgsImhkaWQiOiI1ODIyMDgzZjE4ZmVkZThkOWNmYjcxYTM2OTMwMjk0NyIsInVzZXJDb3VudCI6MTh9"/>
</p:tagLst>
</file>

<file path=ppt/theme/theme1.xml><?xml version="1.0" encoding="utf-8"?>
<a:theme xmlns:a="http://schemas.openxmlformats.org/drawingml/2006/main" name="Office 主题​​">
  <a:themeElements>
    <a:clrScheme name="自定义 2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D"/>
      </a:accent1>
      <a:accent2>
        <a:srgbClr val="FEB728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9</Words>
  <Application>WPS 演示</Application>
  <PresentationFormat>宽屏</PresentationFormat>
  <Paragraphs>105</Paragraphs>
  <Slides>9</Slides>
  <Notes>1</Notes>
  <HiddenSlides>1</HiddenSlides>
  <MMClips>0</MMClips>
  <ScaleCrop>false</ScaleCrop>
  <HeadingPairs>
    <vt:vector size="6" baseType="variant">
      <vt:variant>
        <vt:lpstr>已用的字体</vt:lpstr>
      </vt:variant>
      <vt:variant>
        <vt:i4>3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43" baseType="lpstr">
      <vt:lpstr>Arial</vt:lpstr>
      <vt:lpstr>宋体</vt:lpstr>
      <vt:lpstr>Wingdings</vt:lpstr>
      <vt:lpstr>汉仪正圆-55W</vt:lpstr>
      <vt:lpstr>阿里巴巴普惠体 Light</vt:lpstr>
      <vt:lpstr>Alibaba PuHuiTi</vt:lpstr>
      <vt:lpstr>Lato</vt:lpstr>
      <vt:lpstr>Open Sans</vt:lpstr>
      <vt:lpstr>Calibri</vt:lpstr>
      <vt:lpstr>Lato</vt:lpstr>
      <vt:lpstr>Segoe Print</vt:lpstr>
      <vt:lpstr>Open Sans Light</vt:lpstr>
      <vt:lpstr>Lato Semibold</vt:lpstr>
      <vt:lpstr>Calibri</vt:lpstr>
      <vt:lpstr>Source Sans Pro Light</vt:lpstr>
      <vt:lpstr>微软雅黑</vt:lpstr>
      <vt:lpstr>Arial Unicode MS</vt:lpstr>
      <vt:lpstr>等线 Light</vt:lpstr>
      <vt:lpstr>等线</vt:lpstr>
      <vt:lpstr>Helvetica Light</vt:lpstr>
      <vt:lpstr>Gill Sans</vt:lpstr>
      <vt:lpstr>Source Sans Pro Light</vt:lpstr>
      <vt:lpstr>Roboto Light</vt:lpstr>
      <vt:lpstr>Roboto Black</vt:lpstr>
      <vt:lpstr>MS PGothic</vt:lpstr>
      <vt:lpstr>汉仪书魂体简</vt:lpstr>
      <vt:lpstr>Microsoft YaHei Bold</vt:lpstr>
      <vt:lpstr>思源黑体 CN Regular</vt:lpstr>
      <vt:lpstr>思源黑体 CN Regular</vt:lpstr>
      <vt:lpstr>思源黑体 CN Bold</vt:lpstr>
      <vt:lpstr>Wide Latin</vt:lpstr>
      <vt:lpstr>黑体</vt:lpstr>
      <vt:lpstr>Gill Sans MT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彭</cp:lastModifiedBy>
  <cp:revision>29</cp:revision>
  <dcterms:created xsi:type="dcterms:W3CDTF">2022-05-31T06:39:00Z</dcterms:created>
  <dcterms:modified xsi:type="dcterms:W3CDTF">2024-08-31T08:0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16120</vt:lpwstr>
  </property>
  <property fmtid="{D5CDD505-2E9C-101B-9397-08002B2CF9AE}" pid="3" name="KSOTemplateUUID">
    <vt:lpwstr>v1.0_mb_Jmb9RG/n/BRcF2ta8XUeyA==</vt:lpwstr>
  </property>
  <property fmtid="{D5CDD505-2E9C-101B-9397-08002B2CF9AE}" pid="4" name="ICV">
    <vt:lpwstr>A18782AC67DE4ECEA617A8A3F3CFF460_11</vt:lpwstr>
  </property>
</Properties>
</file>